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21" autoAdjust="0"/>
  </p:normalViewPr>
  <p:slideViewPr>
    <p:cSldViewPr snapToGrid="0" snapToObjects="1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49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Migrating server roles and workloads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9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Migrating server roles and workloads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ing server roles and workloads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1-27T11:07:44Z</dcterms:created>
  <dcterms:modified xsi:type="dcterms:W3CDTF">2021-01-27T11:08:3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